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98" r:id="rId2"/>
    <p:sldId id="302" r:id="rId3"/>
    <p:sldId id="293" r:id="rId4"/>
    <p:sldId id="294" r:id="rId5"/>
    <p:sldId id="299" r:id="rId6"/>
    <p:sldId id="301" r:id="rId7"/>
    <p:sldId id="295" r:id="rId8"/>
    <p:sldId id="297" r:id="rId9"/>
  </p:sldIdLst>
  <p:sldSz cx="9144000" cy="6858000" type="screen4x3"/>
  <p:notesSz cx="6888163" cy="9623425"/>
  <p:custDataLst>
    <p:tags r:id="rId12"/>
  </p:custDataLst>
  <p:defaultTextStyle>
    <a:defPPr>
      <a:defRPr lang="es-E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 Narrow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FFCC66"/>
    <a:srgbClr val="FFFF66"/>
    <a:srgbClr val="FEB0B0"/>
    <a:srgbClr val="FFCC99"/>
    <a:srgbClr val="339933"/>
    <a:srgbClr val="66FFFF"/>
    <a:srgbClr val="C0C0C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-104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l" defTabSz="942975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03663" y="0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t" anchorCtr="0" compatLnSpc="1">
            <a:prstTxWarp prst="textNoShape">
              <a:avLst/>
            </a:prstTxWarp>
          </a:bodyPr>
          <a:lstStyle>
            <a:lvl1pPr algn="r" defTabSz="942975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42413"/>
            <a:ext cx="2984500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l" defTabSz="942975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03663" y="9142413"/>
            <a:ext cx="2984500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348" tIns="47174" rIns="94348" bIns="47174" numCol="1" anchor="b" anchorCtr="0" compatLnSpc="1">
            <a:prstTxWarp prst="textNoShape">
              <a:avLst/>
            </a:prstTxWarp>
          </a:bodyPr>
          <a:lstStyle>
            <a:lvl1pPr algn="r" defTabSz="942975">
              <a:defRPr sz="1200" smtClean="0"/>
            </a:lvl1pPr>
          </a:lstStyle>
          <a:p>
            <a:pPr>
              <a:defRPr/>
            </a:pPr>
            <a:fld id="{40AF0CBA-6B47-4A2D-B223-E458326EE604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02075" y="0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39813" y="722313"/>
            <a:ext cx="4808537" cy="3608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975" y="4570413"/>
            <a:ext cx="5510213" cy="433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40825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37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2075" y="9140825"/>
            <a:ext cx="2984500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B1A9D82-EB24-4B9A-81ED-23CEEDAA301C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UY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22E5B3-9378-4701-907B-4C3BC2F4E44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D40A1-52AF-42C1-9CC0-FE5031A0006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F0535-321F-4F9E-8A6E-38A37D4104A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ítulo, 1 objeto y 2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B84B25-43C4-4F8A-891D-2A2C3E0A5068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FECD43-FA08-4FDA-BF96-F1CAA19F46C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07B87D-28B7-43AC-8B3D-D91A9F16156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42F57-8894-4177-B67B-73EE57B5E77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62258F-FB4B-4446-918F-B0A8E691DBD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9007A-7229-49FA-9BF1-E8657E8A6FE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47C13F-C105-4498-AD3C-D97771B6823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UY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348B2D-F152-4284-AA04-8BCCDA60310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UY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UY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9D07F9-137D-4FE5-9BA2-0E90A52EE4E6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87638" y="6338888"/>
            <a:ext cx="3767137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1" smtClean="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r>
              <a:rPr lang="es-ES"/>
              <a:t>Programa CLAVES · JPC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0FD97C79-C08E-4A78-8921-C88510176B4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 Narrow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UY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4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lasalle.org/wp-content/uploads/2013/10/image0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5400" dirty="0" smtClean="0">
                <a:solidFill>
                  <a:schemeClr val="bg1"/>
                </a:solidFill>
              </a:rPr>
              <a:t>Campaña Buen </a:t>
            </a:r>
            <a:r>
              <a:rPr lang="es-ES" sz="5400" dirty="0" smtClean="0">
                <a:solidFill>
                  <a:schemeClr val="bg1"/>
                </a:solidFill>
              </a:rPr>
              <a:t>Trato</a:t>
            </a:r>
            <a:endParaRPr lang="es-CL" sz="5400" dirty="0">
              <a:solidFill>
                <a:schemeClr val="bg1"/>
              </a:solidFill>
            </a:endParaRPr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0" y="2766647"/>
            <a:ext cx="8501363" cy="4308764"/>
          </a:xfrm>
        </p:spPr>
        <p:txBody>
          <a:bodyPr/>
          <a:lstStyle/>
          <a:p>
            <a:pPr algn="ctr">
              <a:buNone/>
            </a:pPr>
            <a:r>
              <a:rPr lang="es-ES" sz="4800" dirty="0" smtClean="0">
                <a:solidFill>
                  <a:schemeClr val="bg1"/>
                </a:solidFill>
              </a:rPr>
              <a:t>Con esta campaña queremos sensibilizar a la comunidad escolar sobre la importancia de mantener buen trato entre adultos y </a:t>
            </a:r>
            <a:r>
              <a:rPr lang="es-ES" sz="4800" dirty="0" smtClean="0">
                <a:solidFill>
                  <a:schemeClr val="bg1"/>
                </a:solidFill>
              </a:rPr>
              <a:t>jóvenes</a:t>
            </a:r>
            <a:endParaRPr lang="es-CL" sz="4800" dirty="0">
              <a:solidFill>
                <a:schemeClr val="bg1"/>
              </a:solidFill>
            </a:endParaRPr>
          </a:p>
        </p:txBody>
      </p:sp>
      <p:pic>
        <p:nvPicPr>
          <p:cNvPr id="7" name="Picture 70" descr="bt_logo f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91486" y="0"/>
            <a:ext cx="1652514" cy="1496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3" descr="LOGO BUENTRATO 0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95806"/>
            <a:ext cx="1912588" cy="126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5527" y="316202"/>
            <a:ext cx="7897091" cy="1143000"/>
          </a:xfrm>
        </p:spPr>
        <p:txBody>
          <a:bodyPr/>
          <a:lstStyle/>
          <a:p>
            <a:r>
              <a:rPr lang="es-ES" dirty="0" smtClean="0">
                <a:solidFill>
                  <a:schemeClr val="bg1"/>
                </a:solidFill>
              </a:rPr>
              <a:t>Por qué Buen Trato??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77091" y="1586347"/>
            <a:ext cx="4038600" cy="3027217"/>
          </a:xfrm>
        </p:spPr>
        <p:txBody>
          <a:bodyPr/>
          <a:lstStyle/>
          <a:p>
            <a:r>
              <a:rPr lang="es-ES" dirty="0" smtClean="0">
                <a:solidFill>
                  <a:srgbClr val="FF0000"/>
                </a:solidFill>
              </a:rPr>
              <a:t>Cállate estúpido!!</a:t>
            </a:r>
          </a:p>
          <a:p>
            <a:r>
              <a:rPr lang="es-ES" dirty="0" smtClean="0">
                <a:solidFill>
                  <a:srgbClr val="FF0000"/>
                </a:solidFill>
              </a:rPr>
              <a:t>Te voy a pegar!!!</a:t>
            </a:r>
          </a:p>
          <a:p>
            <a:r>
              <a:rPr lang="es-ES" dirty="0" smtClean="0">
                <a:solidFill>
                  <a:srgbClr val="FF0000"/>
                </a:solidFill>
              </a:rPr>
              <a:t>Cuando te vea, vas a ver…</a:t>
            </a:r>
          </a:p>
          <a:p>
            <a:r>
              <a:rPr lang="es-ES" dirty="0" smtClean="0">
                <a:solidFill>
                  <a:srgbClr val="FF0000"/>
                </a:solidFill>
              </a:rPr>
              <a:t>Chancho Guatón!!</a:t>
            </a:r>
          </a:p>
          <a:p>
            <a:endParaRPr lang="es-CL" dirty="0"/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4620490" y="2085110"/>
            <a:ext cx="4038600" cy="2185988"/>
          </a:xfrm>
        </p:spPr>
        <p:txBody>
          <a:bodyPr/>
          <a:lstStyle/>
          <a:p>
            <a:pPr>
              <a:buNone/>
            </a:pPr>
            <a:r>
              <a:rPr lang="es-ES" dirty="0" smtClean="0">
                <a:solidFill>
                  <a:schemeClr val="bg1"/>
                </a:solidFill>
              </a:rPr>
              <a:t>Estas situaciones son </a:t>
            </a:r>
          </a:p>
          <a:p>
            <a:pPr>
              <a:buNone/>
            </a:pPr>
            <a:r>
              <a:rPr lang="es-ES" dirty="0" smtClean="0">
                <a:solidFill>
                  <a:schemeClr val="bg1"/>
                </a:solidFill>
              </a:rPr>
              <a:t>muy comunes en la </a:t>
            </a:r>
          </a:p>
          <a:p>
            <a:pPr>
              <a:buNone/>
            </a:pPr>
            <a:r>
              <a:rPr lang="es-ES" dirty="0" smtClean="0">
                <a:solidFill>
                  <a:schemeClr val="bg1"/>
                </a:solidFill>
              </a:rPr>
              <a:t>sociedad en que vivimos</a:t>
            </a:r>
          </a:p>
          <a:p>
            <a:pPr>
              <a:buNone/>
            </a:pPr>
            <a:r>
              <a:rPr lang="es-ES" dirty="0" smtClean="0">
                <a:solidFill>
                  <a:schemeClr val="bg1"/>
                </a:solidFill>
              </a:rPr>
              <a:t>Y en distintos contextos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5" name="4 Marcador de contenido"/>
          <p:cNvSpPr>
            <a:spLocks noGrp="1"/>
          </p:cNvSpPr>
          <p:nvPr>
            <p:ph sz="quarter" idx="3"/>
          </p:nvPr>
        </p:nvSpPr>
        <p:spPr>
          <a:xfrm>
            <a:off x="221674" y="4599710"/>
            <a:ext cx="8562108" cy="1955945"/>
          </a:xfrm>
        </p:spPr>
        <p:txBody>
          <a:bodyPr/>
          <a:lstStyle/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Se generan entre adultos y menores o </a:t>
            </a:r>
          </a:p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entre jóvenes y niños, cuando existe </a:t>
            </a:r>
          </a:p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un </a:t>
            </a:r>
            <a:r>
              <a:rPr lang="es-ES" b="1" i="1" dirty="0" smtClean="0">
                <a:solidFill>
                  <a:schemeClr val="bg1"/>
                </a:solidFill>
              </a:rPr>
              <a:t>abuso</a:t>
            </a:r>
            <a:r>
              <a:rPr lang="es-ES" dirty="0" smtClean="0">
                <a:solidFill>
                  <a:schemeClr val="bg1"/>
                </a:solidFill>
              </a:rPr>
              <a:t> por parte de una persona más “fuerte” a una persona en una condición de “debilidad”</a:t>
            </a:r>
            <a:endParaRPr lang="es-CL" dirty="0">
              <a:solidFill>
                <a:schemeClr val="bg1"/>
              </a:solidFill>
            </a:endParaRPr>
          </a:p>
        </p:txBody>
      </p:sp>
      <p:pic>
        <p:nvPicPr>
          <p:cNvPr id="7" name="Picture 70" descr="bt_logo f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13510" y="389020"/>
            <a:ext cx="1801000" cy="1631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3" descr="LOGO BUENTRATO 0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3542" y="462555"/>
            <a:ext cx="1294246" cy="852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>
                <a:solidFill>
                  <a:schemeClr val="bg1"/>
                </a:solidFill>
              </a:rPr>
              <a:t>Maltrato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006437" y="1808018"/>
            <a:ext cx="4038600" cy="2126673"/>
          </a:xfrm>
        </p:spPr>
        <p:txBody>
          <a:bodyPr/>
          <a:lstStyle/>
          <a:p>
            <a:r>
              <a:rPr lang="es-ES" dirty="0" smtClean="0">
                <a:solidFill>
                  <a:schemeClr val="bg1"/>
                </a:solidFill>
              </a:rPr>
              <a:t>Físico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Verbal/Psicológico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Descuido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4" name="3 Marcador de contenido"/>
          <p:cNvSpPr>
            <a:spLocks noGrp="1"/>
          </p:cNvSpPr>
          <p:nvPr>
            <p:ph sz="quarter" idx="2"/>
          </p:nvPr>
        </p:nvSpPr>
        <p:spPr>
          <a:xfrm>
            <a:off x="1122218" y="4301837"/>
            <a:ext cx="6664036" cy="1447799"/>
          </a:xfrm>
        </p:spPr>
        <p:txBody>
          <a:bodyPr/>
          <a:lstStyle/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Las consecuencias de la violencia pueden ser nefastas y generar </a:t>
            </a:r>
          </a:p>
          <a:p>
            <a:pPr algn="ctr">
              <a:buNone/>
            </a:pPr>
            <a:r>
              <a:rPr lang="es-ES" b="1" i="1" dirty="0" smtClean="0">
                <a:solidFill>
                  <a:schemeClr val="bg1"/>
                </a:solidFill>
              </a:rPr>
              <a:t>cadenas de maltrato </a:t>
            </a:r>
            <a:r>
              <a:rPr lang="es-ES" dirty="0" smtClean="0">
                <a:solidFill>
                  <a:schemeClr val="bg1"/>
                </a:solidFill>
              </a:rPr>
              <a:t>en las personas</a:t>
            </a:r>
            <a:endParaRPr lang="es-CL" dirty="0">
              <a:solidFill>
                <a:schemeClr val="bg1"/>
              </a:solidFill>
            </a:endParaRPr>
          </a:p>
        </p:txBody>
      </p:sp>
      <p:pic>
        <p:nvPicPr>
          <p:cNvPr id="7" name="Picture 70" descr="bt_logo f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29486" y="138038"/>
            <a:ext cx="1652514" cy="1496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3" descr="LOGO BUENTRATO 0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6691" y="207529"/>
            <a:ext cx="1912588" cy="126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4800" y="180110"/>
            <a:ext cx="8506691" cy="1143000"/>
          </a:xfrm>
        </p:spPr>
        <p:txBody>
          <a:bodyPr/>
          <a:lstStyle/>
          <a:p>
            <a:r>
              <a:rPr lang="es-ES" sz="3600" b="1" dirty="0" smtClean="0">
                <a:solidFill>
                  <a:schemeClr val="bg1"/>
                </a:solidFill>
              </a:rPr>
              <a:t>¿En que consiste la campaña de vacunación?</a:t>
            </a:r>
            <a:endParaRPr lang="es-CL" sz="3600" b="1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35526" y="1814946"/>
            <a:ext cx="8603674" cy="3602181"/>
          </a:xfrm>
        </p:spPr>
        <p:txBody>
          <a:bodyPr/>
          <a:lstStyle/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Se trata de una campaña de sensibilización pública sobre las situaciones de violencia cotidiana que sufren niños y adolescentes, en la que ellos  mismos  promueven actitudes y conductas respetuosas de su  dignidad e integridad.</a:t>
            </a: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ES" smtClean="0"/>
              <a:t>Programa CLAVES · JPC</a:t>
            </a:r>
            <a:endParaRPr lang="es-ES"/>
          </a:p>
        </p:txBody>
      </p:sp>
      <p:pic>
        <p:nvPicPr>
          <p:cNvPr id="7" name="Picture 5" descr="Imagen2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16" y="4627419"/>
            <a:ext cx="2433957" cy="1759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Imagen 14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85309" y="4375188"/>
            <a:ext cx="1717963" cy="2281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Imagen2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29746" y="4544080"/>
            <a:ext cx="2838450" cy="2049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43" descr="LOGO BUENTRATO 0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35614" y="1072156"/>
            <a:ext cx="1294246" cy="852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32509" y="0"/>
            <a:ext cx="8506691" cy="1143000"/>
          </a:xfrm>
        </p:spPr>
        <p:txBody>
          <a:bodyPr/>
          <a:lstStyle/>
          <a:p>
            <a:r>
              <a:rPr lang="es-ES" sz="3600" b="1" dirty="0" smtClean="0">
                <a:solidFill>
                  <a:schemeClr val="bg1"/>
                </a:solidFill>
              </a:rPr>
              <a:t>¿En que consiste la campaña de vacunación?</a:t>
            </a:r>
            <a:endParaRPr lang="es-CL" sz="3600" b="1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77089" y="1025237"/>
            <a:ext cx="8603674" cy="4918362"/>
          </a:xfrm>
        </p:spPr>
        <p:txBody>
          <a:bodyPr/>
          <a:lstStyle/>
          <a:p>
            <a:pPr algn="ctr">
              <a:buNone/>
            </a:pPr>
            <a:r>
              <a:rPr lang="es-ES" dirty="0" smtClean="0">
                <a:solidFill>
                  <a:schemeClr val="bg1"/>
                </a:solidFill>
              </a:rPr>
              <a:t>Entregarán a quienes participen en forma simbólica, un </a:t>
            </a:r>
            <a:r>
              <a:rPr lang="es-ES" b="1" i="1" dirty="0" smtClean="0">
                <a:solidFill>
                  <a:schemeClr val="bg1"/>
                </a:solidFill>
              </a:rPr>
              <a:t>certificado de vacunación </a:t>
            </a:r>
            <a:r>
              <a:rPr lang="es-ES" dirty="0" smtClean="0">
                <a:solidFill>
                  <a:schemeClr val="bg1"/>
                </a:solidFill>
              </a:rPr>
              <a:t>contra el maltrato y un </a:t>
            </a:r>
            <a:r>
              <a:rPr lang="es-ES" b="1" i="1" dirty="0" smtClean="0">
                <a:solidFill>
                  <a:schemeClr val="bg1"/>
                </a:solidFill>
              </a:rPr>
              <a:t>dulce</a:t>
            </a:r>
            <a:r>
              <a:rPr lang="es-ES" dirty="0" smtClean="0">
                <a:solidFill>
                  <a:schemeClr val="bg1"/>
                </a:solidFill>
              </a:rPr>
              <a:t> como vacuna simbolizando el buen trato; acompañado de un </a:t>
            </a:r>
            <a:r>
              <a:rPr lang="es-ES" b="1" i="1" dirty="0" err="1" smtClean="0">
                <a:solidFill>
                  <a:schemeClr val="bg1"/>
                </a:solidFill>
              </a:rPr>
              <a:t>sticker</a:t>
            </a:r>
            <a:r>
              <a:rPr lang="es-ES" b="1" i="1" dirty="0" smtClean="0">
                <a:solidFill>
                  <a:schemeClr val="bg1"/>
                </a:solidFill>
              </a:rPr>
              <a:t> </a:t>
            </a:r>
            <a:r>
              <a:rPr lang="es-ES" dirty="0" smtClean="0">
                <a:solidFill>
                  <a:schemeClr val="bg1"/>
                </a:solidFill>
              </a:rPr>
              <a:t>con el logo de la campaña “Un trato por el buen trato”, buscando el reforzamiento y perduración del mensaje sensibilizador de la campaña. Es una campaña en la cual los adolescentes y jóvenes “vacunan” a sus pares y adultos, invitándolos a sumarse en la promoción de una cultura del buen trato.</a:t>
            </a: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endParaRPr lang="es-CL" dirty="0">
              <a:solidFill>
                <a:schemeClr val="bg1"/>
              </a:solidFill>
            </a:endParaRPr>
          </a:p>
        </p:txBody>
      </p:sp>
      <p:pic>
        <p:nvPicPr>
          <p:cNvPr id="5" name="Picture 70" descr="bt_logo fina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48105" y="5514109"/>
            <a:ext cx="1300150" cy="1177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5" descr="Caramel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5908" y="5486400"/>
            <a:ext cx="1177637" cy="117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>
                <a:solidFill>
                  <a:schemeClr val="bg1"/>
                </a:solidFill>
              </a:rPr>
              <a:t>Tres Momentos</a:t>
            </a:r>
            <a:endParaRPr lang="es-CL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6364" y="1579418"/>
            <a:ext cx="7966364" cy="4602163"/>
          </a:xfrm>
        </p:spPr>
        <p:txBody>
          <a:bodyPr/>
          <a:lstStyle/>
          <a:p>
            <a:pPr marL="514350" indent="-514350" algn="just">
              <a:buAutoNum type="arabicPeriod"/>
            </a:pPr>
            <a:r>
              <a:rPr lang="es-ES" dirty="0" smtClean="0">
                <a:solidFill>
                  <a:schemeClr val="bg1"/>
                </a:solidFill>
              </a:rPr>
              <a:t>Recepción de alumnos el día lunes 28 de septiembre a la entrada, con manifestación de buen trato</a:t>
            </a:r>
          </a:p>
          <a:p>
            <a:pPr marL="514350" indent="-514350" algn="just">
              <a:buAutoNum type="arabicPeriod"/>
            </a:pPr>
            <a:r>
              <a:rPr lang="es-ES" dirty="0" smtClean="0">
                <a:solidFill>
                  <a:schemeClr val="bg1"/>
                </a:solidFill>
              </a:rPr>
              <a:t>Vacunación simbólica a padres y apoderados (u otros)  en el estacionamiento el día jueves 1 de octubre, en tres momentos: 8.00 – 12.30 – 13.10</a:t>
            </a:r>
          </a:p>
          <a:p>
            <a:pPr marL="514350" indent="-514350" algn="just">
              <a:buAutoNum type="arabicPeriod"/>
            </a:pPr>
            <a:r>
              <a:rPr lang="es-ES" dirty="0" smtClean="0">
                <a:solidFill>
                  <a:schemeClr val="bg1"/>
                </a:solidFill>
              </a:rPr>
              <a:t>Vacunación a estudiantes y funcionarios en el patio, el día jueves 1 de octubre durante los dos primeros recreos (9.40 – 11.25)  </a:t>
            </a:r>
          </a:p>
          <a:p>
            <a:pPr marL="514350" indent="-514350">
              <a:buAutoNum type="arabicPeriod"/>
            </a:pPr>
            <a:endParaRPr lang="es-CL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ES" smtClean="0"/>
              <a:t>Programa CLAVES · JPC</a:t>
            </a:r>
            <a:endParaRPr lang="es-ES"/>
          </a:p>
        </p:txBody>
      </p:sp>
      <p:pic>
        <p:nvPicPr>
          <p:cNvPr id="7" name="Picture 70" descr="bt_logo fina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09559" y="207817"/>
            <a:ext cx="1544884" cy="1399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43" descr="LOGO BUENTRATO 0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5323" y="171609"/>
            <a:ext cx="2000168" cy="1317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 smtClean="0">
                <a:solidFill>
                  <a:schemeClr val="bg1"/>
                </a:solidFill>
              </a:rPr>
              <a:t>A ponerle Color…</a:t>
            </a: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199" y="1427018"/>
            <a:ext cx="7910945" cy="4699145"/>
          </a:xfrm>
        </p:spPr>
        <p:txBody>
          <a:bodyPr/>
          <a:lstStyle/>
          <a:p>
            <a:r>
              <a:rPr lang="es-ES" dirty="0" smtClean="0">
                <a:solidFill>
                  <a:schemeClr val="bg1"/>
                </a:solidFill>
              </a:rPr>
              <a:t>Disfrazarse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Meter ruido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Batucadas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Pendones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....</a:t>
            </a:r>
          </a:p>
          <a:p>
            <a:pPr>
              <a:buNone/>
            </a:pPr>
            <a:endParaRPr lang="es-ES" dirty="0" smtClean="0">
              <a:solidFill>
                <a:schemeClr val="bg1"/>
              </a:solidFill>
            </a:endParaRPr>
          </a:p>
          <a:p>
            <a:pPr algn="ctr">
              <a:buNone/>
            </a:pPr>
            <a:r>
              <a:rPr lang="es-ES" u="sng" dirty="0" smtClean="0">
                <a:solidFill>
                  <a:schemeClr val="bg1"/>
                </a:solidFill>
              </a:rPr>
              <a:t>La idea es llamar la atención y romper los esquemas de la rutina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s-ES" dirty="0" smtClean="0"/>
              <a:t>Programa CLAVES · JPC</a:t>
            </a:r>
            <a:endParaRPr lang="es-ES" dirty="0"/>
          </a:p>
        </p:txBody>
      </p:sp>
      <p:pic>
        <p:nvPicPr>
          <p:cNvPr id="7" name="Picture 10" descr="http://fundaciongesta.bligoo.cl/media/users/20/1049175/images/public/269997/IMG_9896.jpg?v=138596859652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77491" y="1614054"/>
            <a:ext cx="4857734" cy="307181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KqdilYOkSW1yFHxhEM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KqdilYOkSW1yFHxhEM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KqdilYOkSW1yFHxhEM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KqdilYOkSW1yFHxhEM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bKqdilYOkSW1yFHxhEMrQ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E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9</TotalTime>
  <Words>355</Words>
  <Application>Microsoft Office PowerPoint</Application>
  <PresentationFormat>Presentación en pantalla (4:3)</PresentationFormat>
  <Paragraphs>45</Paragraphs>
  <Slides>8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9" baseType="lpstr">
      <vt:lpstr>Diseño predeterminado</vt:lpstr>
      <vt:lpstr>Diapositiva 1</vt:lpstr>
      <vt:lpstr>Campaña Buen Trato</vt:lpstr>
      <vt:lpstr>Por qué Buen Trato??</vt:lpstr>
      <vt:lpstr>Maltrato</vt:lpstr>
      <vt:lpstr>¿En que consiste la campaña de vacunación?</vt:lpstr>
      <vt:lpstr>¿En que consiste la campaña de vacunación?</vt:lpstr>
      <vt:lpstr>Tres Momentos</vt:lpstr>
      <vt:lpstr>A ponerle Color…</vt:lpstr>
    </vt:vector>
  </TitlesOfParts>
  <Company>Bermúdez Moler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Jorge C. Bermúdez</dc:creator>
  <cp:lastModifiedBy>prefectogeneral</cp:lastModifiedBy>
  <cp:revision>100</cp:revision>
  <dcterms:created xsi:type="dcterms:W3CDTF">2006-10-18T23:47:39Z</dcterms:created>
  <dcterms:modified xsi:type="dcterms:W3CDTF">2015-09-30T18:0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Diapositiva 1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